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537" r:id="rId3"/>
    <p:sldId id="538" r:id="rId4"/>
    <p:sldId id="539" r:id="rId5"/>
    <p:sldId id="257" r:id="rId6"/>
    <p:sldId id="536" r:id="rId7"/>
    <p:sldId id="535" r:id="rId8"/>
    <p:sldId id="540" r:id="rId9"/>
    <p:sldId id="542" r:id="rId10"/>
    <p:sldId id="543" r:id="rId11"/>
    <p:sldId id="541" r:id="rId12"/>
    <p:sldId id="258" r:id="rId13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60" d="100"/>
          <a:sy n="60" d="100"/>
        </p:scale>
        <p:origin x="989" y="6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EA6B4-7C77-4973-B25F-4F07326148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73C7E7-83EB-4C0C-9B33-7CDCF11DB2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C83804-F200-4BE1-BCF4-5C2A3A81EB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133408-297E-4E89-91BE-E5AD863B9B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D3BFF5-30CB-418E-A823-52D18291D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8901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A06B40-F105-438B-A70D-DEC71A60E6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92461B7-C857-46A7-BC70-66229751DF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E81AA7-535E-478E-B18A-83A0814BF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BE9265-6955-4C05-9300-8D079B5463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DAB747-3BC2-49DC-AE6E-3E6BF0ABE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098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02B78F1-EFAE-42DF-BAB3-00D35E3D69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A92E30-99F5-4921-ABF2-4611176A02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8B1BD6-68AB-4FE7-8FC1-0E899ED649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DB01B2-EE1A-469C-A721-5456F5680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0DDA9D-E8F0-493C-94CC-12329F69B9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585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4958DB-8A7F-4DED-8259-C85FA730B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D51CE7-CBBD-4F47-AC41-5C65C3782E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261A7D-EFA6-4F65-9DA2-833C3C4275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F3181-CB42-43F7-8B91-37664B0A9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6B459F-DE8B-4B08-98C6-1DD2762B9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7187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82292-2B4B-42B5-BBBB-D741A557C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6CA26E-9A9E-4DD2-878E-215F46FD55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DAEE91-F122-4B7D-9215-F1CFBAE7E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FF0706-D018-442F-A78F-33961503E8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E28867-1535-4A96-A411-BA72D585F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292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DECADD-283D-4E5F-B731-815920C97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4E45B1-7104-46B9-9C21-CEC048C608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7F3E32-48BD-4348-A589-5D9A807564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A20D7D-E23E-41EF-9805-5D47A4D7B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EE49F7-26D9-41B4-B3CA-A1E65EB90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0DF07-5C19-4978-82F7-EDEB0C41B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5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38EA12-5BD2-4160-9AF6-AA2DBA1D2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974B8D-B63F-492F-840C-EACA1CEBEF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A37702-7DD2-415F-BCC2-C1090E3AE0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573561-F136-483C-BEE7-C659B2543EB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BC0EEB9-19E2-42F1-85CA-625079BB8F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3102A08-CBD7-461E-98F5-F5635F077E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6F3AD8E-28CF-4336-A382-4F8501E89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C3114D-F2B2-487A-B494-DE52DF0E2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9114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05F0B5-6385-477E-9E75-B7B3F600B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07EB36-3821-483E-A0D9-19F0537C5B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6AA59C-2B19-444F-8C3E-FC7DB93A3C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128912-E4C0-462A-8170-F7542E25F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495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E27389B-0261-4BD2-95A5-A1321CA8F4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895123-3DB0-4561-A7B1-A722E1A526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0BD8D-2E73-4AE5-BFE2-CDC2DCC1B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8969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35FD6-14F2-4045-9E55-2AB5BFB45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895BA9-1BF4-4918-9471-503F7FBDFF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C86699-DDAF-42AA-9B62-B1310812D9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F61ED7-A40E-46DD-8ABE-AD63E2C8C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53DB2C-6D23-493E-B337-74F27C6065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6770D7-834E-4236-B777-519A9C8DB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701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FC668-F204-41C0-B35A-430D71343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CC17B61-0D8F-43A6-B34E-50DC1B94E9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BBC673-19BC-4EE7-9669-6338674F0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494EE5-A7D9-4178-BE8B-08032632CA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28BE67-3206-45C7-9E5F-C33DB164A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CEDAD2-957A-482D-A8CE-D6E9475FC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064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21F2C0E-190B-4EF0-B0CA-2109C1CB27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15704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15" imgW="277" imgH="277" progId="TCLayout.ActiveDocument.1">
                  <p:embed/>
                </p:oleObj>
              </mc:Choice>
              <mc:Fallback>
                <p:oleObj name="think-cell Slide" r:id="rId15" imgW="277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38E2F39-8015-4BCB-894A-B1FD32E0D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FF9688-4EA1-414D-850C-68CD4E49A5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70C70C-BF25-42DD-9136-23EE319DEA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32A5F1-FABE-4966-ACEF-8D6BC87E7402}" type="datetimeFigureOut">
              <a:rPr lang="en-US" smtClean="0"/>
              <a:t>3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6B30E6-9A86-4438-A04F-09ACBB38DD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91A25F-7E23-42E9-9718-DC81E90F8F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97FF28-4C64-48F8-B446-98F528534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45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28FA24-61F2-457D-A8BA-7DE41A1172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8385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F62E53-9C56-4C9A-8EEC-1D396BAE68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/>
          <a:lstStyle/>
          <a:p>
            <a:r>
              <a:rPr lang="en-US" dirty="0"/>
              <a:t>Difference in Differen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CE0F7B-2837-4583-8879-A994D9D9DE18}"/>
              </a:ext>
            </a:extLst>
          </p:cNvPr>
          <p:cNvSpPr txBox="1"/>
          <p:nvPr/>
        </p:nvSpPr>
        <p:spPr>
          <a:xfrm>
            <a:off x="5549216" y="5956300"/>
            <a:ext cx="10935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Hua He</a:t>
            </a:r>
          </a:p>
          <a:p>
            <a:pPr algn="ctr"/>
            <a:r>
              <a:rPr lang="en-US" dirty="0"/>
              <a:t>Mar 2022</a:t>
            </a:r>
          </a:p>
        </p:txBody>
      </p:sp>
    </p:spTree>
    <p:extLst>
      <p:ext uri="{BB962C8B-B14F-4D97-AF65-F5344CB8AC3E}">
        <p14:creationId xmlns:p14="http://schemas.microsoft.com/office/powerpoint/2010/main" val="36621776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E2459F3-B411-41E8-BD5D-EB47E7E199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E2459F3-B411-41E8-BD5D-EB47E7E19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>
            <a:extLst>
              <a:ext uri="{FF2B5EF4-FFF2-40B4-BE49-F238E27FC236}">
                <a16:creationId xmlns:a16="http://schemas.microsoft.com/office/drawing/2014/main" id="{3E403591-2027-4AF7-B7F7-3E5BDC9EFF4C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l World Difference-in-Differen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4AF058-C5B9-449C-859E-6714BA39783A}"/>
              </a:ext>
            </a:extLst>
          </p:cNvPr>
          <p:cNvSpPr txBox="1"/>
          <p:nvPr/>
        </p:nvSpPr>
        <p:spPr>
          <a:xfrm>
            <a:off x="838200" y="1442135"/>
            <a:ext cx="8712200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Minimum Wages and Employment: A Case Study of the Fast-Food Industry in New Jersey and Pennsylvania</a:t>
            </a:r>
          </a:p>
          <a:p>
            <a:r>
              <a:rPr lang="en-US" sz="2000" dirty="0"/>
              <a:t>By David Card and Alan B. Krueger (1993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7E75776-5FE7-408E-B1B9-40EB51E506CB}"/>
              </a:ext>
            </a:extLst>
          </p:cNvPr>
          <p:cNvSpPr txBox="1"/>
          <p:nvPr/>
        </p:nvSpPr>
        <p:spPr>
          <a:xfrm>
            <a:off x="838200" y="2767698"/>
            <a:ext cx="90831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Conclusion</a:t>
            </a:r>
            <a:r>
              <a:rPr lang="en-US" sz="2000" dirty="0"/>
              <a:t>: No indication that the rise in the minimum wage reduced employ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3D3F9E-3F66-4529-81FE-5B815C8E650A}"/>
              </a:ext>
            </a:extLst>
          </p:cNvPr>
          <p:cNvSpPr txBox="1"/>
          <p:nvPr/>
        </p:nvSpPr>
        <p:spPr>
          <a:xfrm>
            <a:off x="838200" y="3453498"/>
            <a:ext cx="7394332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Why</a:t>
            </a:r>
            <a:r>
              <a:rPr lang="en-US" sz="2000" dirty="0"/>
              <a:t>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Offset influence through non-wage compens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Reduced on-the-job training and flattened tenure-wage profi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Increased pric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3212A02-4449-417D-B2AD-917BF6EF4B26}"/>
              </a:ext>
            </a:extLst>
          </p:cNvPr>
          <p:cNvSpPr txBox="1"/>
          <p:nvPr/>
        </p:nvSpPr>
        <p:spPr>
          <a:xfrm>
            <a:off x="838200" y="4913998"/>
            <a:ext cx="6691191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Other implications</a:t>
            </a:r>
            <a:r>
              <a:rPr lang="en-US" sz="2000" dirty="0"/>
              <a:t>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Full-time vs part-time composition might have chang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May have discouraged new business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Inconclusive influences on demand</a:t>
            </a:r>
          </a:p>
        </p:txBody>
      </p:sp>
    </p:spTree>
    <p:extLst>
      <p:ext uri="{BB962C8B-B14F-4D97-AF65-F5344CB8AC3E}">
        <p14:creationId xmlns:p14="http://schemas.microsoft.com/office/powerpoint/2010/main" val="40638452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F7A441-A486-4AB0-9E66-075758FEF3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995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66" name="Picture 2" descr="Congratulation GIFs - Get the best GIF on GIPHY">
            <a:extLst>
              <a:ext uri="{FF2B5EF4-FFF2-40B4-BE49-F238E27FC236}">
                <a16:creationId xmlns:a16="http://schemas.microsoft.com/office/drawing/2014/main" id="{797C7B87-AF4A-4318-82A0-E017E677B4D8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77873" y="1863801"/>
            <a:ext cx="9836252" cy="4440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8DDD5EC-A580-4B0F-91C5-EC9447DB92ED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21 Nobel Memorial Prize in Economic Sciences</a:t>
            </a:r>
          </a:p>
        </p:txBody>
      </p:sp>
    </p:spTree>
    <p:extLst>
      <p:ext uri="{BB962C8B-B14F-4D97-AF65-F5344CB8AC3E}">
        <p14:creationId xmlns:p14="http://schemas.microsoft.com/office/powerpoint/2010/main" val="37304374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800F498-E84F-41DF-90D0-78372CF73C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78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9AFA3D2-C6FD-4DB9-893C-59327DD8FFFB}"/>
              </a:ext>
            </a:extLst>
          </p:cNvPr>
          <p:cNvSpPr txBox="1">
            <a:spLocks/>
          </p:cNvSpPr>
          <p:nvPr/>
        </p:nvSpPr>
        <p:spPr>
          <a:xfrm>
            <a:off x="1981200" y="152400"/>
            <a:ext cx="82296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s &amp; Cons of </a:t>
            </a:r>
            <a:r>
              <a:rPr lang="en-US" sz="3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iD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EA8CCA-0ED6-4756-8FF0-97E45FBC0B87}"/>
              </a:ext>
            </a:extLst>
          </p:cNvPr>
          <p:cNvSpPr txBox="1"/>
          <p:nvPr/>
        </p:nvSpPr>
        <p:spPr>
          <a:xfrm>
            <a:off x="1411550" y="3154792"/>
            <a:ext cx="12495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uitiv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3122EB-1159-4D83-A60D-2A52F577DC70}"/>
              </a:ext>
            </a:extLst>
          </p:cNvPr>
          <p:cNvSpPr txBox="1"/>
          <p:nvPr/>
        </p:nvSpPr>
        <p:spPr>
          <a:xfrm>
            <a:off x="1411550" y="3779167"/>
            <a:ext cx="2379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mple but powerfu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09F43C4-FDAA-402E-B55F-11E248D0E789}"/>
              </a:ext>
            </a:extLst>
          </p:cNvPr>
          <p:cNvSpPr txBox="1"/>
          <p:nvPr/>
        </p:nvSpPr>
        <p:spPr>
          <a:xfrm>
            <a:off x="1411550" y="4403542"/>
            <a:ext cx="11862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lexib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B6E24E-1D03-448B-968F-EFEB5F037F3F}"/>
              </a:ext>
            </a:extLst>
          </p:cNvPr>
          <p:cNvSpPr txBox="1"/>
          <p:nvPr/>
        </p:nvSpPr>
        <p:spPr>
          <a:xfrm>
            <a:off x="6096000" y="3154792"/>
            <a:ext cx="2366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eds baseline dat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37344CB-1814-442F-9718-213866A54184}"/>
              </a:ext>
            </a:extLst>
          </p:cNvPr>
          <p:cNvSpPr txBox="1"/>
          <p:nvPr/>
        </p:nvSpPr>
        <p:spPr>
          <a:xfrm>
            <a:off x="6096000" y="3820384"/>
            <a:ext cx="2465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eds parallel trend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9FFC3-CD70-46D5-AE2B-29B0AB1243CF}"/>
              </a:ext>
            </a:extLst>
          </p:cNvPr>
          <p:cNvSpPr txBox="1"/>
          <p:nvPr/>
        </p:nvSpPr>
        <p:spPr>
          <a:xfrm>
            <a:off x="6096000" y="4479752"/>
            <a:ext cx="4786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ositions of two groups need to be stab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546541A-8947-496D-AE6B-3ED594EE1538}"/>
              </a:ext>
            </a:extLst>
          </p:cNvPr>
          <p:cNvSpPr txBox="1"/>
          <p:nvPr/>
        </p:nvSpPr>
        <p:spPr>
          <a:xfrm>
            <a:off x="1411550" y="5027916"/>
            <a:ext cx="25555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andles selection bia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708B835D-191C-4AA1-8843-E9A724BA501C}"/>
                  </a:ext>
                </a:extLst>
              </p:cNvPr>
              <p:cNvSpPr txBox="1"/>
              <p:nvPr/>
            </p:nvSpPr>
            <p:spPr>
              <a:xfrm>
                <a:off x="1379834" y="1130081"/>
                <a:ext cx="9524998" cy="5192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sz="3200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sSub>
                        <m:sSub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b="0" i="1" smtClean="0">
                              <a:latin typeface="Cambria Math" panose="02040503050406030204" pitchFamily="18" charset="0"/>
                            </a:rPr>
                            <m:t>𝑇𝑅𝐸𝐴𝑇</m:t>
                          </m:r>
                        </m:e>
                        <m:sub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32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b="0" i="1" smtClean="0">
                              <a:latin typeface="Cambria Math" panose="02040503050406030204" pitchFamily="18" charset="0"/>
                            </a:rPr>
                            <m:t>𝑃𝑂𝑆𝑇</m:t>
                          </m:r>
                        </m:e>
                        <m:sub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3200" i="1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32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3200" i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</m:acc>
                        </m:e>
                        <m:sup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𝐷𝐷</m:t>
                          </m:r>
                        </m:sup>
                      </m:sSup>
                      <m:sSub>
                        <m:sSub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b="0" i="1" smtClean="0">
                              <a:latin typeface="Cambria Math" panose="02040503050406030204" pitchFamily="18" charset="0"/>
                            </a:rPr>
                            <m:t>𝑇𝑅𝐸𝐴𝑇</m:t>
                          </m:r>
                        </m:e>
                        <m:sub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>
                        <m:sSub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b="0" i="1" smtClean="0">
                              <a:latin typeface="Cambria Math" panose="02040503050406030204" pitchFamily="18" charset="0"/>
                            </a:rPr>
                            <m:t>𝑃𝑂𝑆𝑇</m:t>
                          </m:r>
                        </m:e>
                        <m:sub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32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US" sz="3200" dirty="0"/>
              </a:p>
            </p:txBody>
          </p:sp>
        </mc:Choice>
        <mc:Fallback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708B835D-191C-4AA1-8843-E9A724BA50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9834" y="1130081"/>
                <a:ext cx="9524998" cy="51924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F5BEA8C-9391-4BEB-9382-D9D75F9609BB}"/>
                  </a:ext>
                </a:extLst>
              </p:cNvPr>
              <p:cNvSpPr/>
              <p:nvPr/>
            </p:nvSpPr>
            <p:spPr>
              <a:xfrm>
                <a:off x="1341733" y="1883783"/>
                <a:ext cx="9601200" cy="66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sz="3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̂"/>
                            <m:ctrlPr>
                              <a:rPr lang="en-US" sz="32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3200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</m:acc>
                      </m:e>
                      <m:sup>
                        <m:r>
                          <a:rPr lang="en-US" sz="3200" i="1">
                            <a:latin typeface="Cambria Math" panose="02040503050406030204" pitchFamily="18" charset="0"/>
                          </a:rPr>
                          <m:t>𝐷𝐷</m:t>
                        </m:r>
                      </m:sup>
                    </m:sSup>
                    <m:r>
                      <a:rPr lang="en-US" sz="3200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sz="32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sz="32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acc>
                              <m:accPr>
                                <m:chr m:val="̅"/>
                                <m:ctrlPr>
                                  <a:rPr lang="en-US" sz="32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32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</m:acc>
                          </m:e>
                          <m:sub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𝑃𝑂𝑆𝑇</m:t>
                            </m:r>
                          </m:sub>
                          <m:sup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𝑇𝑅𝐸𝐴𝑇</m:t>
                            </m:r>
                          </m:sup>
                        </m:sSubSup>
                        <m:r>
                          <a:rPr lang="en-US" sz="3200" i="1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sz="32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acc>
                              <m:accPr>
                                <m:chr m:val="̅"/>
                                <m:ctrlPr>
                                  <a:rPr lang="en-US" sz="32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32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</m:acc>
                          </m:e>
                          <m:sub>
                            <m:r>
                              <a:rPr lang="en-US" sz="3200" i="1">
                                <a:latin typeface="Cambria Math" panose="02040503050406030204" pitchFamily="18" charset="0"/>
                              </a:rPr>
                              <m:t>𝑃𝑅𝐸</m:t>
                            </m:r>
                          </m:sub>
                          <m:sup>
                            <m:r>
                              <a:rPr lang="en-US" sz="3200" i="1">
                                <a:latin typeface="Cambria Math" panose="02040503050406030204" pitchFamily="18" charset="0"/>
                              </a:rPr>
                              <m:t>𝑇𝑅𝐸𝐴𝑇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sz="3200" dirty="0"/>
                  <a:t>-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32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sz="32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acc>
                              <m:accPr>
                                <m:chr m:val="̅"/>
                                <m:ctrlPr>
                                  <a:rPr lang="en-US" sz="32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32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</m:acc>
                          </m:e>
                          <m:sub>
                            <m:r>
                              <a:rPr lang="en-US" sz="3200" i="1">
                                <a:latin typeface="Cambria Math" panose="02040503050406030204" pitchFamily="18" charset="0"/>
                              </a:rPr>
                              <m:t>𝑃𝑂𝑆𝑇</m:t>
                            </m:r>
                          </m:sub>
                          <m:sup>
                            <m:r>
                              <a:rPr lang="en-US" sz="3200" i="1">
                                <a:latin typeface="Cambria Math" panose="02040503050406030204" pitchFamily="18" charset="0"/>
                              </a:rPr>
                              <m:t>𝐶𝑂𝑁𝑇𝑅𝑂𝐿</m:t>
                            </m:r>
                          </m:sup>
                        </m:sSubSup>
                        <m:r>
                          <a:rPr lang="en-US" sz="3200" i="1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sz="32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acc>
                              <m:accPr>
                                <m:chr m:val="̅"/>
                                <m:ctrlPr>
                                  <a:rPr lang="en-US" sz="32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32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</m:acc>
                          </m:e>
                          <m:sub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𝑃𝑅𝐸</m:t>
                            </m:r>
                          </m:sub>
                          <m:sup>
                            <m:r>
                              <a:rPr lang="en-US" sz="3200" b="0" i="1" smtClean="0">
                                <a:latin typeface="Cambria Math" panose="02040503050406030204" pitchFamily="18" charset="0"/>
                              </a:rPr>
                              <m:t>𝐶𝑂𝑁𝑇𝑅𝑂𝐿</m:t>
                            </m:r>
                          </m:sup>
                        </m:sSubSup>
                      </m:e>
                    </m:d>
                  </m:oMath>
                </a14:m>
                <a:endParaRPr lang="en-US" sz="3200" dirty="0"/>
              </a:p>
            </p:txBody>
          </p:sp>
        </mc:Choice>
        <mc:Fallback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F5BEA8C-9391-4BEB-9382-D9D75F9609B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41733" y="1883783"/>
                <a:ext cx="9601200" cy="660887"/>
              </a:xfrm>
              <a:prstGeom prst="rect">
                <a:avLst/>
              </a:prstGeom>
              <a:blipFill>
                <a:blip r:embed="rId7"/>
                <a:stretch>
                  <a:fillRect t="-4630" b="-259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68554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30733D6-CABE-42D7-BD43-38865A6C39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734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30733D6-CABE-42D7-BD43-38865A6C39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D645BD5-7796-4FEB-A4BB-11BA15AA4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usal Inference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4CDCC3D8-A85C-4651-B26C-F790C02D01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1690688"/>
            <a:ext cx="8229600" cy="4296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7879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30733D6-CABE-42D7-BD43-38865A6C39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30733D6-CABE-42D7-BD43-38865A6C39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D645BD5-7796-4FEB-A4BB-11BA15AA4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usal Inference</a:t>
            </a:r>
          </a:p>
        </p:txBody>
      </p:sp>
      <p:pic>
        <p:nvPicPr>
          <p:cNvPr id="6147" name="Picture 3">
            <a:extLst>
              <a:ext uri="{FF2B5EF4-FFF2-40B4-BE49-F238E27FC236}">
                <a16:creationId xmlns:a16="http://schemas.microsoft.com/office/drawing/2014/main" id="{C8683CCA-4BF3-4B59-BBF1-4A9429BB9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956447"/>
            <a:ext cx="4193756" cy="2805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4">
            <a:extLst>
              <a:ext uri="{FF2B5EF4-FFF2-40B4-BE49-F238E27FC236}">
                <a16:creationId xmlns:a16="http://schemas.microsoft.com/office/drawing/2014/main" id="{7185860C-FF8F-415F-BDF9-5AA8C76DC5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230" y="2113576"/>
            <a:ext cx="3349770" cy="2648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67775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30733D6-CABE-42D7-BD43-38865A6C39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30733D6-CABE-42D7-BD43-38865A6C39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D645BD5-7796-4FEB-A4BB-11BA15AA4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usal Inferen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515FAD9-B84E-4D2A-9A86-F96DAEFF404C}"/>
              </a:ext>
            </a:extLst>
          </p:cNvPr>
          <p:cNvSpPr txBox="1"/>
          <p:nvPr/>
        </p:nvSpPr>
        <p:spPr>
          <a:xfrm>
            <a:off x="1411550" y="3177452"/>
            <a:ext cx="5358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ich advanced degree brings you the highest ROI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CCB109-5A56-4B23-AFF7-A4AF53AD8E68}"/>
              </a:ext>
            </a:extLst>
          </p:cNvPr>
          <p:cNvSpPr txBox="1"/>
          <p:nvPr/>
        </p:nvSpPr>
        <p:spPr>
          <a:xfrm>
            <a:off x="1411550" y="3899982"/>
            <a:ext cx="47959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ildren who travel a lot do better at school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EDB894-9610-425F-99F4-127F95C34D4A}"/>
              </a:ext>
            </a:extLst>
          </p:cNvPr>
          <p:cNvSpPr txBox="1"/>
          <p:nvPr/>
        </p:nvSpPr>
        <p:spPr>
          <a:xfrm>
            <a:off x="1411550" y="4622510"/>
            <a:ext cx="69788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CFA charter holders beat the market in investment performances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08E77CC-629A-4018-B893-193CAD5A4332}"/>
              </a:ext>
            </a:extLst>
          </p:cNvPr>
          <p:cNvSpPr txBox="1"/>
          <p:nvPr/>
        </p:nvSpPr>
        <p:spPr>
          <a:xfrm>
            <a:off x="1411550" y="1732392"/>
            <a:ext cx="67695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y is cholera mortality rate in some districts lower than in others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89C1F7-5330-4F07-BFA0-4CDC752EAEB0}"/>
              </a:ext>
            </a:extLst>
          </p:cNvPr>
          <p:cNvSpPr txBox="1"/>
          <p:nvPr/>
        </p:nvSpPr>
        <p:spPr>
          <a:xfrm>
            <a:off x="1411550" y="2454922"/>
            <a:ext cx="6404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reasing minimum wage leads to higher unemployment rate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0E3539D-92DF-4D6E-AEBD-3EE611853E29}"/>
              </a:ext>
            </a:extLst>
          </p:cNvPr>
          <p:cNvSpPr txBox="1"/>
          <p:nvPr/>
        </p:nvSpPr>
        <p:spPr>
          <a:xfrm>
            <a:off x="1411550" y="5345038"/>
            <a:ext cx="4554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 this business strategy better than others?</a:t>
            </a:r>
          </a:p>
        </p:txBody>
      </p:sp>
    </p:spTree>
    <p:extLst>
      <p:ext uri="{BB962C8B-B14F-4D97-AF65-F5344CB8AC3E}">
        <p14:creationId xmlns:p14="http://schemas.microsoft.com/office/powerpoint/2010/main" val="3944067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30733D6-CABE-42D7-BD43-38865A6C39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30733D6-CABE-42D7-BD43-38865A6C39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D645BD5-7796-4FEB-A4BB-11BA15AA4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at is Difference-in-Differences?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4D31A64-92C8-4129-A8D1-C6A8E869B63E}"/>
              </a:ext>
            </a:extLst>
          </p:cNvPr>
          <p:cNvCxnSpPr/>
          <p:nvPr/>
        </p:nvCxnSpPr>
        <p:spPr>
          <a:xfrm>
            <a:off x="6400514" y="5056575"/>
            <a:ext cx="30450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1358D1B-D950-4858-8DD0-2A6A59539AC3}"/>
              </a:ext>
            </a:extLst>
          </p:cNvPr>
          <p:cNvCxnSpPr>
            <a:cxnSpLocks/>
          </p:cNvCxnSpPr>
          <p:nvPr/>
        </p:nvCxnSpPr>
        <p:spPr>
          <a:xfrm rot="16200000">
            <a:off x="4877994" y="3534055"/>
            <a:ext cx="30450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F1C5840-ED57-4DA5-AEE1-692716A6ABC7}"/>
              </a:ext>
            </a:extLst>
          </p:cNvPr>
          <p:cNvCxnSpPr/>
          <p:nvPr/>
        </p:nvCxnSpPr>
        <p:spPr>
          <a:xfrm>
            <a:off x="7820941" y="2668481"/>
            <a:ext cx="0" cy="2388094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2CFD1AF-27DA-4BEF-990C-CBC8F3ABF2AB}"/>
              </a:ext>
            </a:extLst>
          </p:cNvPr>
          <p:cNvCxnSpPr/>
          <p:nvPr/>
        </p:nvCxnSpPr>
        <p:spPr>
          <a:xfrm flipV="1">
            <a:off x="6640211" y="3014710"/>
            <a:ext cx="2299316" cy="68358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B007CC9-2AAE-4301-AA0F-762DA95B61AB}"/>
              </a:ext>
            </a:extLst>
          </p:cNvPr>
          <p:cNvCxnSpPr>
            <a:cxnSpLocks/>
          </p:cNvCxnSpPr>
          <p:nvPr/>
        </p:nvCxnSpPr>
        <p:spPr>
          <a:xfrm flipV="1">
            <a:off x="6640211" y="3343184"/>
            <a:ext cx="1180730" cy="355107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86F7F42-A325-444D-AACC-323737DBA960}"/>
              </a:ext>
            </a:extLst>
          </p:cNvPr>
          <p:cNvCxnSpPr/>
          <p:nvPr/>
        </p:nvCxnSpPr>
        <p:spPr>
          <a:xfrm flipV="1">
            <a:off x="7820941" y="2375518"/>
            <a:ext cx="1118586" cy="9676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595F6B9-5AA6-49AE-A95C-1292DE6640DC}"/>
              </a:ext>
            </a:extLst>
          </p:cNvPr>
          <p:cNvCxnSpPr>
            <a:cxnSpLocks/>
          </p:cNvCxnSpPr>
          <p:nvPr/>
        </p:nvCxnSpPr>
        <p:spPr>
          <a:xfrm flipV="1">
            <a:off x="6640211" y="3698291"/>
            <a:ext cx="2317072" cy="68358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C9FB83C4-1FB7-4789-865D-4DFDC83230EA}"/>
              </a:ext>
            </a:extLst>
          </p:cNvPr>
          <p:cNvSpPr txBox="1"/>
          <p:nvPr/>
        </p:nvSpPr>
        <p:spPr>
          <a:xfrm flipV="1">
            <a:off x="5911334" y="2523810"/>
            <a:ext cx="369332" cy="671081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sz="1200" dirty="0"/>
              <a:t>Outcom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4D3BB7B-87A1-42F8-A213-E9F50434B992}"/>
              </a:ext>
            </a:extLst>
          </p:cNvPr>
          <p:cNvSpPr txBox="1"/>
          <p:nvPr/>
        </p:nvSpPr>
        <p:spPr>
          <a:xfrm>
            <a:off x="7034272" y="5079277"/>
            <a:ext cx="3926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048D02-1473-42BC-BCD6-B2F1269B890B}"/>
              </a:ext>
            </a:extLst>
          </p:cNvPr>
          <p:cNvSpPr txBox="1"/>
          <p:nvPr/>
        </p:nvSpPr>
        <p:spPr>
          <a:xfrm>
            <a:off x="8380234" y="5079277"/>
            <a:ext cx="4539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ost</a:t>
            </a:r>
          </a:p>
        </p:txBody>
      </p:sp>
      <p:sp>
        <p:nvSpPr>
          <p:cNvPr id="25" name="Right Brace 24">
            <a:extLst>
              <a:ext uri="{FF2B5EF4-FFF2-40B4-BE49-F238E27FC236}">
                <a16:creationId xmlns:a16="http://schemas.microsoft.com/office/drawing/2014/main" id="{71B559E9-AAC9-4370-B388-B41054B3020C}"/>
              </a:ext>
            </a:extLst>
          </p:cNvPr>
          <p:cNvSpPr/>
          <p:nvPr/>
        </p:nvSpPr>
        <p:spPr>
          <a:xfrm>
            <a:off x="7190631" y="3587323"/>
            <a:ext cx="124283" cy="51934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8DD6DE75-9B0E-482C-8ACF-3836A35C21A4}"/>
              </a:ext>
            </a:extLst>
          </p:cNvPr>
          <p:cNvSpPr/>
          <p:nvPr/>
        </p:nvSpPr>
        <p:spPr>
          <a:xfrm>
            <a:off x="9001672" y="2428534"/>
            <a:ext cx="124283" cy="51934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1DFB0949-2828-4F47-B072-F14A9F7A2EE0}"/>
              </a:ext>
            </a:extLst>
          </p:cNvPr>
          <p:cNvSpPr/>
          <p:nvPr/>
        </p:nvSpPr>
        <p:spPr>
          <a:xfrm>
            <a:off x="8380234" y="2987568"/>
            <a:ext cx="124283" cy="82296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1237A79-0BD0-400B-BDBF-B99F130D15E2}"/>
              </a:ext>
            </a:extLst>
          </p:cNvPr>
          <p:cNvSpPr txBox="1"/>
          <p:nvPr/>
        </p:nvSpPr>
        <p:spPr>
          <a:xfrm>
            <a:off x="1470079" y="2288484"/>
            <a:ext cx="33291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Quasi-experiments where randomized controlled experiment is not an op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00F189D-B32B-45EE-872F-6FB61431FAE3}"/>
              </a:ext>
            </a:extLst>
          </p:cNvPr>
          <p:cNvSpPr txBox="1"/>
          <p:nvPr/>
        </p:nvSpPr>
        <p:spPr>
          <a:xfrm>
            <a:off x="1470079" y="4454866"/>
            <a:ext cx="395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aluate impact of policies/strategi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9F967E7-A905-4D1B-88E6-E5750EF2E55A}"/>
              </a:ext>
            </a:extLst>
          </p:cNvPr>
          <p:cNvSpPr txBox="1"/>
          <p:nvPr/>
        </p:nvSpPr>
        <p:spPr>
          <a:xfrm>
            <a:off x="1470079" y="3648674"/>
            <a:ext cx="31046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dentify &amp; quantify causality</a:t>
            </a:r>
          </a:p>
        </p:txBody>
      </p:sp>
    </p:spTree>
    <p:extLst>
      <p:ext uri="{BB962C8B-B14F-4D97-AF65-F5344CB8AC3E}">
        <p14:creationId xmlns:p14="http://schemas.microsoft.com/office/powerpoint/2010/main" val="1616508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30733D6-CABE-42D7-BD43-38865A6C39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028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30733D6-CABE-42D7-BD43-38865A6C39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8" name="Picture 10" descr="Jon Snow's Hottest Moments on Game of Thrones">
            <a:extLst>
              <a:ext uri="{FF2B5EF4-FFF2-40B4-BE49-F238E27FC236}">
                <a16:creationId xmlns:a16="http://schemas.microsoft.com/office/drawing/2014/main" id="{CA169F80-2500-419B-849F-B5580D538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709" y="1463397"/>
            <a:ext cx="4651159" cy="4651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527B3B88-007B-4C51-8894-809862AFB6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1134" y="1159422"/>
            <a:ext cx="4084144" cy="548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D645BD5-7796-4FEB-A4BB-11BA15AA4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l World Difference-in-Differenc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11A128D-0885-406A-8C05-5480E7271427}"/>
              </a:ext>
            </a:extLst>
          </p:cNvPr>
          <p:cNvGrpSpPr/>
          <p:nvPr/>
        </p:nvGrpSpPr>
        <p:grpSpPr>
          <a:xfrm>
            <a:off x="2313742" y="1690688"/>
            <a:ext cx="2243091" cy="3703915"/>
            <a:chOff x="4000500" y="1819692"/>
            <a:chExt cx="2095500" cy="3574911"/>
          </a:xfrm>
        </p:grpSpPr>
        <p:pic>
          <p:nvPicPr>
            <p:cNvPr id="2055" name="Picture 7">
              <a:extLst>
                <a:ext uri="{FF2B5EF4-FFF2-40B4-BE49-F238E27FC236}">
                  <a16:creationId xmlns:a16="http://schemas.microsoft.com/office/drawing/2014/main" id="{DCE4AF6D-F650-4E61-BCED-44852A2AE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0500" y="1819692"/>
              <a:ext cx="2095500" cy="3076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73AF030B-0290-4585-B270-C0584004587D}"/>
                </a:ext>
              </a:extLst>
            </p:cNvPr>
            <p:cNvSpPr txBox="1"/>
            <p:nvPr/>
          </p:nvSpPr>
          <p:spPr>
            <a:xfrm>
              <a:off x="4453023" y="5025271"/>
              <a:ext cx="119045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John Sn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18543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E2459F3-B411-41E8-BD5D-EB47E7E199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4497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533400" y="1242136"/>
            <a:ext cx="5867400" cy="5303326"/>
            <a:chOff x="3429000" y="1009650"/>
            <a:chExt cx="4615688" cy="4171950"/>
          </a:xfrm>
          <a:solidFill>
            <a:schemeClr val="bg1"/>
          </a:solidFill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903" r="14445" b="40247"/>
            <a:stretch/>
          </p:blipFill>
          <p:spPr>
            <a:xfrm>
              <a:off x="3429000" y="1009650"/>
              <a:ext cx="4615688" cy="3562350"/>
            </a:xfrm>
            <a:prstGeom prst="rect">
              <a:avLst/>
            </a:prstGeom>
            <a:grpFill/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355" r="14445" b="16654"/>
            <a:stretch/>
          </p:blipFill>
          <p:spPr>
            <a:xfrm>
              <a:off x="3429000" y="4572000"/>
              <a:ext cx="4615688" cy="609600"/>
            </a:xfrm>
            <a:prstGeom prst="rect">
              <a:avLst/>
            </a:prstGeom>
            <a:grpFill/>
          </p:spPr>
        </p:pic>
      </p:grpSp>
      <p:grpSp>
        <p:nvGrpSpPr>
          <p:cNvPr id="11" name="Group 10"/>
          <p:cNvGrpSpPr/>
          <p:nvPr/>
        </p:nvGrpSpPr>
        <p:grpSpPr>
          <a:xfrm>
            <a:off x="2112264" y="4432300"/>
            <a:ext cx="859536" cy="914400"/>
            <a:chOff x="3733799" y="4343400"/>
            <a:chExt cx="859536" cy="800220"/>
          </a:xfrm>
          <a:solidFill>
            <a:schemeClr val="bg1"/>
          </a:solidFill>
        </p:grpSpPr>
        <p:sp>
          <p:nvSpPr>
            <p:cNvPr id="9" name="TextBox 8"/>
            <p:cNvSpPr txBox="1"/>
            <p:nvPr/>
          </p:nvSpPr>
          <p:spPr>
            <a:xfrm>
              <a:off x="3733799" y="4343400"/>
              <a:ext cx="859536" cy="400110"/>
            </a:xfrm>
            <a:prstGeom prst="rect">
              <a:avLst/>
            </a:prstGeom>
            <a:grpFill/>
            <a:ln w="38100">
              <a:solidFill>
                <a:srgbClr val="FF00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RE  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733800" y="4743510"/>
              <a:ext cx="854721" cy="400110"/>
            </a:xfrm>
            <a:prstGeom prst="rect">
              <a:avLst/>
            </a:prstGeom>
            <a:grpFill/>
            <a:ln w="38100">
              <a:solidFill>
                <a:srgbClr val="FF00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OST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886200" y="3953300"/>
            <a:ext cx="2362200" cy="410346"/>
            <a:chOff x="1063114" y="4724436"/>
            <a:chExt cx="2362200" cy="359107"/>
          </a:xfrm>
          <a:solidFill>
            <a:schemeClr val="bg1"/>
          </a:solidFill>
        </p:grpSpPr>
        <p:sp>
          <p:nvSpPr>
            <p:cNvPr id="13" name="TextBox 12"/>
            <p:cNvSpPr txBox="1"/>
            <p:nvPr/>
          </p:nvSpPr>
          <p:spPr>
            <a:xfrm>
              <a:off x="1063114" y="4733394"/>
              <a:ext cx="1327992" cy="350149"/>
            </a:xfrm>
            <a:prstGeom prst="rect">
              <a:avLst/>
            </a:prstGeom>
            <a:grpFill/>
            <a:ln w="38100">
              <a:solidFill>
                <a:srgbClr val="FF00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reatment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390864" y="4724436"/>
              <a:ext cx="1034450" cy="350149"/>
            </a:xfrm>
            <a:prstGeom prst="rect">
              <a:avLst/>
            </a:prstGeom>
            <a:grpFill/>
            <a:ln w="38100">
              <a:solidFill>
                <a:srgbClr val="FF00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trol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2125462" y="5383464"/>
            <a:ext cx="3733179" cy="439546"/>
            <a:chOff x="2125462" y="5218364"/>
            <a:chExt cx="3733179" cy="43954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Rectangle 14"/>
                <p:cNvSpPr/>
                <p:nvPr/>
              </p:nvSpPr>
              <p:spPr>
                <a:xfrm>
                  <a:off x="2125462" y="5218364"/>
                  <a:ext cx="1760738" cy="420436"/>
                </a:xfrm>
                <a:prstGeom prst="rect">
                  <a:avLst/>
                </a:prstGeom>
                <a:solidFill>
                  <a:schemeClr val="bg1"/>
                </a:solidFill>
                <a:ln w="38100">
                  <a:solidFill>
                    <a:srgbClr val="FF0000"/>
                  </a:solidFill>
                </a:ln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acc>
                                  <m:accPr>
                                    <m:chr m:val="̅"/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𝑃𝑂𝑆𝑇</m:t>
                                </m:r>
                              </m:sub>
                              <m:sup/>
                            </m:sSub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acc>
                                  <m:accPr>
                                    <m:chr m:val="̅"/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𝑃𝑅𝐸</m:t>
                                </m:r>
                              </m:sub>
                              <m:sup/>
                            </m:sSubSup>
                          </m:e>
                        </m:d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5" name="Rectangle 1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25462" y="5218364"/>
                  <a:ext cx="1760738" cy="420436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  <a:ln w="38100">
                  <a:solidFill>
                    <a:srgbClr val="FF0000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" name="TextBox 16"/>
            <p:cNvSpPr txBox="1"/>
            <p:nvPr/>
          </p:nvSpPr>
          <p:spPr>
            <a:xfrm>
              <a:off x="4362774" y="5257800"/>
              <a:ext cx="590226" cy="40011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FF00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-8.8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353374" y="5257800"/>
              <a:ext cx="505267" cy="40011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FF00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.2</a:t>
              </a: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9" name="Rectangle 18"/>
              <p:cNvSpPr/>
              <p:nvPr/>
            </p:nvSpPr>
            <p:spPr>
              <a:xfrm>
                <a:off x="6324600" y="2755900"/>
                <a:ext cx="5947397" cy="8985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𝐷𝐷</m:t>
                          </m:r>
                        </m:sup>
                      </m:sSup>
                      <m:r>
                        <a:rPr lang="en-US" sz="2400" i="1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sz="2400" i="1" dirty="0">
                  <a:latin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d>
                      <m:dPr>
                        <m:ctrlPr>
                          <a:rPr lang="en-US" sz="2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sz="24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acc>
                              <m:accPr>
                                <m:chr m:val="̅"/>
                                <m:ctrlPr>
                                  <a:rPr lang="en-US" sz="24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24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</m:acc>
                          </m:e>
                          <m:sub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𝑃𝑂𝑆𝑇</m:t>
                            </m:r>
                          </m:sub>
                          <m:sup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𝑇𝑅𝐸𝐴𝑇</m:t>
                            </m:r>
                          </m:sup>
                        </m:sSubSup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sz="24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acc>
                              <m:accPr>
                                <m:chr m:val="̅"/>
                                <m:ctrlPr>
                                  <a:rPr lang="en-US" sz="24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24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</m:acc>
                          </m:e>
                          <m:sub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𝑃𝑅𝐸</m:t>
                            </m:r>
                          </m:sub>
                          <m:sup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𝑇𝑅𝐸𝐴𝑇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sz="2400" dirty="0"/>
                  <a:t>-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2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sz="24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acc>
                              <m:accPr>
                                <m:chr m:val="̅"/>
                                <m:ctrlPr>
                                  <a:rPr lang="en-US" sz="24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24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</m:acc>
                          </m:e>
                          <m:sub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𝑃𝑂𝑆𝑇</m:t>
                            </m:r>
                          </m:sub>
                          <m:sup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𝐶𝑂𝑁𝑇𝑅𝑂𝐿</m:t>
                            </m:r>
                          </m:sup>
                        </m:sSubSup>
                        <m:r>
                          <a:rPr lang="en-US" sz="2400" i="1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sz="24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acc>
                              <m:accPr>
                                <m:chr m:val="̅"/>
                                <m:ctrlPr>
                                  <a:rPr lang="en-US" sz="24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24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</m:acc>
                          </m:e>
                          <m:sub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𝑃𝑅𝐸</m:t>
                            </m:r>
                          </m:sub>
                          <m:sup>
                            <m:r>
                              <a:rPr lang="en-US" sz="2400" i="1">
                                <a:latin typeface="Cambria Math" panose="02040503050406030204" pitchFamily="18" charset="0"/>
                              </a:rPr>
                              <m:t>𝐶𝑂𝑁𝑇𝑅𝑂𝐿</m:t>
                            </m:r>
                          </m:sup>
                        </m:sSubSup>
                      </m:e>
                    </m:d>
                  </m:oMath>
                </a14:m>
                <a:endParaRPr lang="en-US" sz="2400" dirty="0"/>
              </a:p>
            </p:txBody>
          </p:sp>
        </mc:Choice>
        <mc:Fallback>
          <p:sp>
            <p:nvSpPr>
              <p:cNvPr id="19" name="Rectangle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4600" y="2755900"/>
                <a:ext cx="5947397" cy="898516"/>
              </a:xfrm>
              <a:prstGeom prst="rect">
                <a:avLst/>
              </a:prstGeom>
              <a:blipFill>
                <a:blip r:embed="rId8"/>
                <a:stretch>
                  <a:fillRect b="-1292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4" name="Group 23"/>
          <p:cNvGrpSpPr/>
          <p:nvPr/>
        </p:nvGrpSpPr>
        <p:grpSpPr>
          <a:xfrm>
            <a:off x="5858641" y="5371525"/>
            <a:ext cx="4123418" cy="584775"/>
            <a:chOff x="5858641" y="5206425"/>
            <a:chExt cx="4123418" cy="584775"/>
          </a:xfrm>
        </p:grpSpPr>
        <p:cxnSp>
          <p:nvCxnSpPr>
            <p:cNvPr id="22" name="Straight Arrow Connector 21"/>
            <p:cNvCxnSpPr>
              <a:stCxn id="18" idx="3"/>
            </p:cNvCxnSpPr>
            <p:nvPr/>
          </p:nvCxnSpPr>
          <p:spPr>
            <a:xfrm>
              <a:off x="5858641" y="5622955"/>
              <a:ext cx="1380359" cy="0"/>
            </a:xfrm>
            <a:prstGeom prst="straightConnector1">
              <a:avLst/>
            </a:prstGeom>
            <a:ln w="38100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7239000" y="5206425"/>
              <a:ext cx="2743059" cy="5847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0B05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-8.8 – 1.2 = -10</a:t>
              </a: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3E403591-2027-4AF7-B7F7-3E5BDC9EFF4C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latin typeface="Times New Roman" panose="02020603050405020304" pitchFamily="18" charset="0"/>
                <a:cs typeface="Times New Roman" panose="02020603050405020304" pitchFamily="18" charset="0"/>
              </a:rPr>
              <a:t>Real World Difference-in-Differenc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008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E2459F3-B411-41E8-BD5D-EB47E7E199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E2459F3-B411-41E8-BD5D-EB47E7E19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>
            <a:extLst>
              <a:ext uri="{FF2B5EF4-FFF2-40B4-BE49-F238E27FC236}">
                <a16:creationId xmlns:a16="http://schemas.microsoft.com/office/drawing/2014/main" id="{3E403591-2027-4AF7-B7F7-3E5BDC9EFF4C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l World Difference-in-Differences</a:t>
            </a:r>
          </a:p>
        </p:txBody>
      </p:sp>
      <p:pic>
        <p:nvPicPr>
          <p:cNvPr id="9220" name="Picture 4">
            <a:extLst>
              <a:ext uri="{FF2B5EF4-FFF2-40B4-BE49-F238E27FC236}">
                <a16:creationId xmlns:a16="http://schemas.microsoft.com/office/drawing/2014/main" id="{B1AF1394-4890-486D-A7CF-F880078212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5" r="8468"/>
          <a:stretch/>
        </p:blipFill>
        <p:spPr bwMode="auto">
          <a:xfrm>
            <a:off x="2032000" y="1690688"/>
            <a:ext cx="3060700" cy="384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2BCB68F-4288-4DD7-9BD1-4224E465C5C6}"/>
              </a:ext>
            </a:extLst>
          </p:cNvPr>
          <p:cNvSpPr txBox="1"/>
          <p:nvPr/>
        </p:nvSpPr>
        <p:spPr>
          <a:xfrm>
            <a:off x="2807380" y="5803900"/>
            <a:ext cx="1198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vid Card</a:t>
            </a:r>
          </a:p>
        </p:txBody>
      </p:sp>
      <p:pic>
        <p:nvPicPr>
          <p:cNvPr id="9222" name="Picture 6">
            <a:extLst>
              <a:ext uri="{FF2B5EF4-FFF2-40B4-BE49-F238E27FC236}">
                <a16:creationId xmlns:a16="http://schemas.microsoft.com/office/drawing/2014/main" id="{6649B826-5EA9-4A7F-AF58-CD12C8AB47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328" y="1690688"/>
            <a:ext cx="2865572" cy="384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BD08A9F-CA33-4FA4-AC71-E520C41ED73C}"/>
              </a:ext>
            </a:extLst>
          </p:cNvPr>
          <p:cNvSpPr txBox="1"/>
          <p:nvPr/>
        </p:nvSpPr>
        <p:spPr>
          <a:xfrm>
            <a:off x="7811180" y="5803900"/>
            <a:ext cx="13926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an Krueger</a:t>
            </a:r>
          </a:p>
        </p:txBody>
      </p:sp>
    </p:spTree>
    <p:extLst>
      <p:ext uri="{BB962C8B-B14F-4D97-AF65-F5344CB8AC3E}">
        <p14:creationId xmlns:p14="http://schemas.microsoft.com/office/powerpoint/2010/main" val="878424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C6E614-0352-4107-945F-0C9729C60F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5037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290" name="Picture 2" descr="Calculating Figure It Out GIF">
            <a:extLst>
              <a:ext uri="{FF2B5EF4-FFF2-40B4-BE49-F238E27FC236}">
                <a16:creationId xmlns:a16="http://schemas.microsoft.com/office/drawing/2014/main" id="{D2B2FAEF-3B62-4CB8-8116-D40C363D1EE9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2599" y="1434456"/>
            <a:ext cx="3870325" cy="4280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28F252C-450A-47D1-853A-5E24BBA2E4E4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ime to crunch some numbers…</a:t>
            </a:r>
          </a:p>
        </p:txBody>
      </p:sp>
    </p:spTree>
    <p:extLst>
      <p:ext uri="{BB962C8B-B14F-4D97-AF65-F5344CB8AC3E}">
        <p14:creationId xmlns:p14="http://schemas.microsoft.com/office/powerpoint/2010/main" val="15617907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2</TotalTime>
  <Words>271</Words>
  <Application>Microsoft Office PowerPoint</Application>
  <PresentationFormat>Widescreen</PresentationFormat>
  <Paragraphs>5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Cambria Math</vt:lpstr>
      <vt:lpstr>Times New Roman</vt:lpstr>
      <vt:lpstr>Office Theme</vt:lpstr>
      <vt:lpstr>think-cell Slide</vt:lpstr>
      <vt:lpstr>Difference in Differences</vt:lpstr>
      <vt:lpstr>Causal Inference</vt:lpstr>
      <vt:lpstr>Causal Inference</vt:lpstr>
      <vt:lpstr>Causal Inference</vt:lpstr>
      <vt:lpstr>What is Difference-in-Differences?</vt:lpstr>
      <vt:lpstr>Real World Difference-in-Differenc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fference in Difference</dc:title>
  <dc:creator>He, Hua</dc:creator>
  <cp:lastModifiedBy>He, Hua</cp:lastModifiedBy>
  <cp:revision>17</cp:revision>
  <dcterms:created xsi:type="dcterms:W3CDTF">2022-03-17T13:48:43Z</dcterms:created>
  <dcterms:modified xsi:type="dcterms:W3CDTF">2022-03-17T23:1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7599526-06ca-49cc-9fa9-5307800a949a_Enabled">
    <vt:lpwstr>true</vt:lpwstr>
  </property>
  <property fmtid="{D5CDD505-2E9C-101B-9397-08002B2CF9AE}" pid="3" name="MSIP_Label_67599526-06ca-49cc-9fa9-5307800a949a_SetDate">
    <vt:lpwstr>2022-03-17T13:48:43Z</vt:lpwstr>
  </property>
  <property fmtid="{D5CDD505-2E9C-101B-9397-08002B2CF9AE}" pid="4" name="MSIP_Label_67599526-06ca-49cc-9fa9-5307800a949a_Method">
    <vt:lpwstr>Standard</vt:lpwstr>
  </property>
  <property fmtid="{D5CDD505-2E9C-101B-9397-08002B2CF9AE}" pid="5" name="MSIP_Label_67599526-06ca-49cc-9fa9-5307800a949a_Name">
    <vt:lpwstr>67599526-06ca-49cc-9fa9-5307800a949a</vt:lpwstr>
  </property>
  <property fmtid="{D5CDD505-2E9C-101B-9397-08002B2CF9AE}" pid="6" name="MSIP_Label_67599526-06ca-49cc-9fa9-5307800a949a_SiteId">
    <vt:lpwstr>fabb61b8-3afe-4e75-b934-a47f782b8cd7</vt:lpwstr>
  </property>
  <property fmtid="{D5CDD505-2E9C-101B-9397-08002B2CF9AE}" pid="7" name="MSIP_Label_67599526-06ca-49cc-9fa9-5307800a949a_ActionId">
    <vt:lpwstr>7a304713-55a1-48b2-b087-492569559d04</vt:lpwstr>
  </property>
  <property fmtid="{D5CDD505-2E9C-101B-9397-08002B2CF9AE}" pid="8" name="MSIP_Label_67599526-06ca-49cc-9fa9-5307800a949a_ContentBits">
    <vt:lpwstr>0</vt:lpwstr>
  </property>
</Properties>
</file>